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38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3241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9470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582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8939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0671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331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003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135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232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4408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15846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906A1-B7F0-4751-A9A2-6A7CEEB285A9}" type="datetimeFigureOut">
              <a:rPr lang="de-DE" smtClean="0"/>
              <a:t>25.07.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043C5-BCDE-405D-B1C1-4456E0C891F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491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089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>
          <a:xfrm>
            <a:off x="1133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8223104" y="3566997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82231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4168205" y="432550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1112" y="3925778"/>
            <a:ext cx="1682514" cy="1682514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9161101" y="5682528"/>
            <a:ext cx="2002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FAQ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383" y="807826"/>
            <a:ext cx="1672177" cy="167217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106204" y="2553156"/>
            <a:ext cx="2002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Features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8223104" y="2553155"/>
            <a:ext cx="3878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 smtClean="0">
                <a:latin typeface="Arial Black" panose="020B0A04020102020204" pitchFamily="34" charset="0"/>
              </a:rPr>
              <a:t>Getting</a:t>
            </a:r>
            <a:r>
              <a:rPr lang="de-DE" sz="2400" dirty="0" smtClean="0">
                <a:latin typeface="Arial Black" panose="020B0A04020102020204" pitchFamily="34" charset="0"/>
              </a:rPr>
              <a:t> </a:t>
            </a:r>
            <a:r>
              <a:rPr lang="de-DE" sz="2400" dirty="0" err="1" smtClean="0">
                <a:latin typeface="Arial Black" panose="020B0A04020102020204" pitchFamily="34" charset="0"/>
              </a:rPr>
              <a:t>Started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13304" y="2553154"/>
            <a:ext cx="3878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 smtClean="0">
                <a:latin typeface="Arial Black" panose="020B0A04020102020204" pitchFamily="34" charset="0"/>
              </a:rPr>
              <a:t>Pricing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13305" y="3566996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306" y="3964772"/>
            <a:ext cx="1604526" cy="1604526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113304" y="5682527"/>
            <a:ext cx="38785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Business Partners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168203" y="3566995"/>
            <a:ext cx="3878531" cy="2790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212" y="3926012"/>
            <a:ext cx="1756515" cy="1756515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4168202" y="5682526"/>
            <a:ext cx="3878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latin typeface="Arial Black" panose="020B0A04020102020204" pitchFamily="34" charset="0"/>
              </a:rPr>
              <a:t>Other Products</a:t>
            </a:r>
            <a:endParaRPr lang="de-DE" sz="2400" dirty="0">
              <a:latin typeface="Arial Black" panose="020B0A04020102020204" pitchFamily="34" charset="0"/>
            </a:endParaRP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00" b="31600"/>
          <a:stretch/>
        </p:blipFill>
        <p:spPr>
          <a:xfrm>
            <a:off x="8840010" y="972297"/>
            <a:ext cx="2651017" cy="1367925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66"/>
          <a:stretch/>
        </p:blipFill>
        <p:spPr>
          <a:xfrm>
            <a:off x="1106710" y="817284"/>
            <a:ext cx="1891717" cy="163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34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</Words>
  <Application>Microsoft Office PowerPoint</Application>
  <PresentationFormat>Breitbild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Calibri Light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x Hoffmann</dc:creator>
  <cp:lastModifiedBy>Max Hoffmann</cp:lastModifiedBy>
  <cp:revision>8</cp:revision>
  <dcterms:created xsi:type="dcterms:W3CDTF">2018-06-27T09:21:19Z</dcterms:created>
  <dcterms:modified xsi:type="dcterms:W3CDTF">2018-07-26T08:49:53Z</dcterms:modified>
</cp:coreProperties>
</file>